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4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84171" autoAdjust="0"/>
  </p:normalViewPr>
  <p:slideViewPr>
    <p:cSldViewPr snapToGrid="0" snapToObjects="1">
      <p:cViewPr varScale="1">
        <p:scale>
          <a:sx n="86" d="100"/>
          <a:sy n="86" d="100"/>
        </p:scale>
        <p:origin x="744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7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 defTabSz="894832">
              <a:spcBef>
                <a:spcPts val="0"/>
              </a:spcBef>
              <a:buNone/>
              <a:defRPr/>
            </a:pPr>
            <a:endParaRPr lang="en-GB" dirty="0"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537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LAYOUT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60" y="1197997"/>
            <a:ext cx="10537285" cy="37786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Maximize productivity using integral 2D layout and 3D detailed desig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CCE6CAD-C7F8-4C5A-B85C-327A99B7154D}"/>
              </a:ext>
            </a:extLst>
          </p:cNvPr>
          <p:cNvGrpSpPr/>
          <p:nvPr/>
        </p:nvGrpSpPr>
        <p:grpSpPr>
          <a:xfrm>
            <a:off x="5250043" y="1703620"/>
            <a:ext cx="6466047" cy="4828019"/>
            <a:chOff x="5699248" y="1676401"/>
            <a:chExt cx="6466047" cy="4828019"/>
          </a:xfrm>
        </p:grpSpPr>
        <p:pic>
          <p:nvPicPr>
            <p:cNvPr id="11" name="Picture 2" descr="D:\000 - CAD Sales Enablement\000 - FY16 CAD Core Plays\FY16 Direct Package Upgrade Play\images\016056_col5.pn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9248" y="3703012"/>
              <a:ext cx="2893394" cy="26726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8" descr="D:\000 - CAD Sales Enablement\000 - FY16 CAD Core Plays\FY16 Direct Package Upgrade Play\images\web8-2015-1-lm-jagm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936" b="19806"/>
            <a:stretch/>
          </p:blipFill>
          <p:spPr bwMode="auto">
            <a:xfrm>
              <a:off x="7055634" y="1676401"/>
              <a:ext cx="5109661" cy="14613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1" descr="http://www.flowxrg.com.php5-19.dfw1-2.websitetestlink.com/wp-content/uploads/2011/12/topplan.png"/>
            <p:cNvPicPr>
              <a:picLocks noChangeAspect="1" noChangeArrowheads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363" b="7407"/>
            <a:stretch/>
          </p:blipFill>
          <p:spPr bwMode="auto">
            <a:xfrm>
              <a:off x="8229191" y="4572001"/>
              <a:ext cx="3876586" cy="19324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2" descr="D:\000 - CAD Sales Enablement\000 - FY16 CAD Core Plays\FY16 Direct Package Upgrade Play\images\Ulysse-Nardin-inner-workings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884725" y="3061653"/>
              <a:ext cx="1043705" cy="15126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3" descr="D:\000 - CAD Sales Enablement\000 - FY16 CAD Core Plays\FY16 Direct Package Upgrade Play\images\Ulysse-Nardin-inner-workings.jpg"/>
            <p:cNvPicPr>
              <a:picLocks noChangeAspect="1" noChangeArrowheads="1"/>
            </p:cNvPicPr>
            <p:nvPr/>
          </p:nvPicPr>
          <p:blipFill rotWithShape="1">
            <a:blip r:embed="rId7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129706" y="3128114"/>
              <a:ext cx="1709413" cy="13949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1F77D9B-7AF8-49DF-948B-A775C3FA98FF}"/>
              </a:ext>
            </a:extLst>
          </p:cNvPr>
          <p:cNvGrpSpPr/>
          <p:nvPr/>
        </p:nvGrpSpPr>
        <p:grpSpPr>
          <a:xfrm>
            <a:off x="530141" y="1866900"/>
            <a:ext cx="5807756" cy="4067146"/>
            <a:chOff x="406940" y="1650455"/>
            <a:chExt cx="5807756" cy="4067146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C8FA5DD-51C6-4740-8BE9-296291A25D72}"/>
                </a:ext>
              </a:extLst>
            </p:cNvPr>
            <p:cNvSpPr/>
            <p:nvPr/>
          </p:nvSpPr>
          <p:spPr>
            <a:xfrm>
              <a:off x="406940" y="1650455"/>
              <a:ext cx="1510147" cy="95251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Who Needs It?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8EC0F7E-6661-44FB-A4D5-32CF110F0C5B}"/>
                </a:ext>
              </a:extLst>
            </p:cNvPr>
            <p:cNvSpPr/>
            <p:nvPr/>
          </p:nvSpPr>
          <p:spPr>
            <a:xfrm>
              <a:off x="2057795" y="1650455"/>
              <a:ext cx="4156901" cy="95251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dirty="0">
                  <a:solidFill>
                    <a:schemeClr val="tx1"/>
                  </a:solidFill>
                </a:rPr>
                <a:t>Customers that create products using 2D layouts to conceptualize and support design</a:t>
              </a:r>
            </a:p>
            <a:p>
              <a:pPr marL="173038" lvl="1" indent="-173038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Machine design, gear design, and </a:t>
              </a:r>
              <a:r>
                <a:rPr lang="en-US" sz="1400" dirty="0" err="1">
                  <a:solidFill>
                    <a:schemeClr val="tx1"/>
                  </a:solidFill>
                </a:rPr>
                <a:t>axi</a:t>
              </a:r>
              <a:r>
                <a:rPr lang="en-US" sz="1400" dirty="0">
                  <a:solidFill>
                    <a:schemeClr val="tx1"/>
                  </a:solidFill>
                </a:rPr>
                <a:t>-symmetric products are easily defined in 2D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7F1F6C7-64CA-489E-AFF9-9A2E9A9429DC}"/>
                </a:ext>
              </a:extLst>
            </p:cNvPr>
            <p:cNvSpPr/>
            <p:nvPr/>
          </p:nvSpPr>
          <p:spPr>
            <a:xfrm>
              <a:off x="406940" y="2692176"/>
              <a:ext cx="1510147" cy="75291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Business Valu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60DC86D-FCE5-454D-81B7-298F7CBC17AB}"/>
                </a:ext>
              </a:extLst>
            </p:cNvPr>
            <p:cNvSpPr/>
            <p:nvPr/>
          </p:nvSpPr>
          <p:spPr>
            <a:xfrm>
              <a:off x="2057797" y="2692176"/>
              <a:ext cx="3868690" cy="7529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Reduce time-to-market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Reduce product development cost 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Improve product quality and innovation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727FD29-A951-4470-885B-8B576D39017D}"/>
                </a:ext>
              </a:extLst>
            </p:cNvPr>
            <p:cNvSpPr/>
            <p:nvPr/>
          </p:nvSpPr>
          <p:spPr>
            <a:xfrm>
              <a:off x="406940" y="3524470"/>
              <a:ext cx="1510147" cy="738345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Process Improvement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4833B8C-8C4B-4C83-BFFE-925607AB5342}"/>
                </a:ext>
              </a:extLst>
            </p:cNvPr>
            <p:cNvSpPr/>
            <p:nvPr/>
          </p:nvSpPr>
          <p:spPr>
            <a:xfrm>
              <a:off x="2057795" y="3524470"/>
              <a:ext cx="3174210" cy="73834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2D concept and layout design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Transition from 2D layout to 3D detailed design 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5F100C6-2ABD-43CA-8F0B-0E8F5274F2A7}"/>
                </a:ext>
              </a:extLst>
            </p:cNvPr>
            <p:cNvSpPr/>
            <p:nvPr/>
          </p:nvSpPr>
          <p:spPr>
            <a:xfrm>
              <a:off x="406940" y="4342187"/>
              <a:ext cx="1510147" cy="137541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>
                <a:lnSpc>
                  <a:spcPct val="90000"/>
                </a:lnSpc>
                <a:spcBef>
                  <a:spcPts val="800"/>
                </a:spcBef>
              </a:pPr>
              <a:r>
                <a:rPr lang="en-US" sz="1500" b="1">
                  <a:solidFill>
                    <a:schemeClr val="tx1"/>
                  </a:solidFill>
                </a:rPr>
                <a:t>Technology/ Capability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AA62688-43DC-4189-AFA4-ABDB846BFC09}"/>
                </a:ext>
              </a:extLst>
            </p:cNvPr>
            <p:cNvSpPr/>
            <p:nvPr/>
          </p:nvSpPr>
          <p:spPr>
            <a:xfrm>
              <a:off x="2057794" y="4342187"/>
              <a:ext cx="3174211" cy="13754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 anchorCtr="0">
              <a:spAutoFit/>
            </a:bodyPr>
            <a:lstStyle/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Easily create from scratch or </a:t>
              </a:r>
              <a:br>
                <a:rPr lang="en-US" sz="1400" dirty="0">
                  <a:solidFill>
                    <a:schemeClr val="tx1"/>
                  </a:solidFill>
                </a:rPr>
              </a:br>
              <a:r>
                <a:rPr lang="en-US" sz="1400" dirty="0">
                  <a:solidFill>
                    <a:schemeClr val="tx1"/>
                  </a:solidFill>
                </a:rPr>
                <a:t>edit existing information 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Directly utilize 2D data to speed the creation of 3D design</a:t>
              </a:r>
            </a:p>
            <a:p>
              <a:pPr marL="174625" lvl="1" indent="-174625">
                <a:buClr>
                  <a:schemeClr val="bg2"/>
                </a:buClr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tx1"/>
                  </a:solidFill>
                </a:rPr>
                <a:t>Implement changes driven from 2D layout information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CE0A61B5-1826-4015-BE29-30EBB5D51F1B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1650457"/>
              <a:ext cx="0" cy="952511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1176994-B882-4DF9-8F27-68E6337152E2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2692175"/>
              <a:ext cx="0" cy="752919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BF115EA-8C2A-43AD-82CD-2F24D3777408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3524468"/>
              <a:ext cx="0" cy="738345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6707379-B623-4233-8989-0A0CBAFF1D1B}"/>
                </a:ext>
              </a:extLst>
            </p:cNvPr>
            <p:cNvCxnSpPr>
              <a:cxnSpLocks/>
            </p:cNvCxnSpPr>
            <p:nvPr/>
          </p:nvCxnSpPr>
          <p:spPr>
            <a:xfrm>
              <a:off x="2014072" y="4342186"/>
              <a:ext cx="0" cy="1375414"/>
            </a:xfrm>
            <a:prstGeom prst="line">
              <a:avLst/>
            </a:prstGeom>
            <a:ln w="381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8768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6</TotalTime>
  <Words>101</Words>
  <Application>Microsoft Office PowerPoint</Application>
  <PresentationFormat>Widescreen</PresentationFormat>
  <Paragraphs>1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PTCRaleway</vt:lpstr>
      <vt:lpstr>PTCRaleway Black</vt:lpstr>
      <vt:lpstr>Arial</vt:lpstr>
      <vt:lpstr>Wingdings</vt:lpstr>
      <vt:lpstr>Arial Narrow</vt:lpstr>
      <vt:lpstr>PTC PowerPoint Template</vt:lpstr>
      <vt:lpstr>think-cell Slide</vt:lpstr>
      <vt:lpstr>CREO LAYOUT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7T12:1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